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3"/>
  </p:notesMasterIdLst>
  <p:handoutMasterIdLst>
    <p:handoutMasterId r:id="rId14"/>
  </p:handoutMasterIdLst>
  <p:sldIdLst>
    <p:sldId id="256" r:id="rId6"/>
    <p:sldId id="258" r:id="rId7"/>
    <p:sldId id="260" r:id="rId8"/>
    <p:sldId id="264" r:id="rId9"/>
    <p:sldId id="261" r:id="rId10"/>
    <p:sldId id="262" r:id="rId11"/>
    <p:sldId id="263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26" autoAdjust="0"/>
    <p:restoredTop sz="94660"/>
  </p:normalViewPr>
  <p:slideViewPr>
    <p:cSldViewPr snapToGrid="0">
      <p:cViewPr varScale="1">
        <p:scale>
          <a:sx n="90" d="100"/>
          <a:sy n="90" d="100"/>
        </p:scale>
        <p:origin x="216" y="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14" Type="http://schemas.openxmlformats.org/officeDocument/2006/relationships/handoutMaster" Target="handoutMasters/handoutMaster1.xml"/><Relationship Id="rId9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sldNum="0" hd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 sz="3600" b="1" dirty="0"/>
            </a:br>
            <a:br>
              <a:rPr lang="nb-NO" sz="3600" b="1" dirty="0"/>
            </a:br>
            <a:r>
              <a:rPr lang="nb-NO" sz="3600" b="1" dirty="0"/>
              <a:t>Økosystemer utfordrer sektorstyringen</a:t>
            </a:r>
            <a:br>
              <a:rPr lang="nb-NO" sz="3600" b="1" dirty="0"/>
            </a:br>
            <a:br>
              <a:rPr lang="nb-NO" sz="3600" b="1" dirty="0"/>
            </a:br>
            <a:br>
              <a:rPr lang="nb-NO" sz="3600" b="1" dirty="0"/>
            </a:br>
            <a:endParaRPr lang="en-US" sz="3600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6112" y="5086084"/>
            <a:ext cx="5716962" cy="258079"/>
          </a:xfrm>
        </p:spPr>
        <p:txBody>
          <a:bodyPr/>
          <a:lstStyle/>
          <a:p>
            <a:r>
              <a:rPr lang="en-US" sz="1600" b="1" dirty="0"/>
              <a:t>Bendik </a:t>
            </a:r>
            <a:r>
              <a:rPr lang="en-US" sz="1600" b="1" dirty="0" err="1"/>
              <a:t>Bygstad</a:t>
            </a:r>
            <a:endParaRPr lang="en-US" sz="1600" b="1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112" y="5380284"/>
            <a:ext cx="5454618" cy="258079"/>
          </a:xfrm>
        </p:spPr>
        <p:txBody>
          <a:bodyPr/>
          <a:lstStyle/>
          <a:p>
            <a:r>
              <a:rPr lang="en-US" sz="1600" dirty="0"/>
              <a:t>Professor </a:t>
            </a:r>
            <a:r>
              <a:rPr lang="en-US" sz="1600" dirty="0" err="1"/>
              <a:t>ved</a:t>
            </a:r>
            <a:r>
              <a:rPr lang="en-US" sz="1600" dirty="0"/>
              <a:t> </a:t>
            </a:r>
            <a:r>
              <a:rPr lang="en-US" sz="1600" dirty="0" err="1"/>
              <a:t>Universitetet</a:t>
            </a:r>
            <a:r>
              <a:rPr lang="en-US" sz="1600" dirty="0"/>
              <a:t> I Oslo, Professor II NHH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383" y="5734466"/>
            <a:ext cx="5716962" cy="226283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" name="Picture 3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6FCAE17-C897-E492-46BD-DEC3283363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137" y="5493426"/>
            <a:ext cx="3563551" cy="1832683"/>
          </a:xfrm>
          <a:prstGeom prst="rect">
            <a:avLst/>
          </a:prstGeom>
        </p:spPr>
      </p:pic>
      <p:pic>
        <p:nvPicPr>
          <p:cNvPr id="1026" name="Picture 2" descr="Én digital offentlig sektor - regjeringen.no">
            <a:extLst>
              <a:ext uri="{FF2B5EF4-FFF2-40B4-BE49-F238E27FC236}">
                <a16:creationId xmlns:a16="http://schemas.microsoft.com/office/drawing/2014/main" id="{9773FEE8-CF77-6C86-8976-554DB5009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5694" y="1641746"/>
            <a:ext cx="5467905" cy="390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ED7D5F-9039-8534-80BF-4188AA99F5D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9F357A-0666-B018-2AEA-97E83823A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O" dirty="0"/>
              <a:t>To utfordringer for digitalisering av offentlig sekto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5B26BF-D68A-DCE6-33E4-5B1F09ED029D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NO" dirty="0"/>
              <a:t>Sektorstyring er lite egnet </a:t>
            </a:r>
          </a:p>
          <a:p>
            <a:pPr marL="0" indent="0">
              <a:buNone/>
            </a:pPr>
            <a:r>
              <a:rPr lang="en-NO" dirty="0"/>
              <a:t>       for digitalisering</a:t>
            </a:r>
          </a:p>
          <a:p>
            <a:pPr marL="0" indent="0">
              <a:buNone/>
            </a:pPr>
            <a:r>
              <a:rPr lang="en-NO" dirty="0"/>
              <a:t>2.   Innovasjon skjer for sak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ED8F53-1481-03C6-9868-ECB481FCF9C1}"/>
              </a:ext>
            </a:extLst>
          </p:cNvPr>
          <p:cNvSpPr txBox="1"/>
          <p:nvPr/>
        </p:nvSpPr>
        <p:spPr>
          <a:xfrm>
            <a:off x="5840730" y="1661280"/>
            <a:ext cx="52120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2400" dirty="0"/>
              <a:t>Forskningen viser at digitale økosystemer er i vekst både </a:t>
            </a:r>
            <a:r>
              <a:rPr lang="en-GB" sz="2400" dirty="0"/>
              <a:t>I</a:t>
            </a:r>
            <a:r>
              <a:rPr lang="en-NO" sz="2400" dirty="0"/>
              <a:t> privat og offentlig sektor. </a:t>
            </a:r>
          </a:p>
          <a:p>
            <a:endParaRPr lang="en-NO" sz="2400" dirty="0"/>
          </a:p>
          <a:p>
            <a:r>
              <a:rPr lang="en-NO" sz="2400" dirty="0"/>
              <a:t>De representerer en alternativ tenking om organisering og styring av digitaliseringen</a:t>
            </a:r>
          </a:p>
        </p:txBody>
      </p:sp>
    </p:spTree>
    <p:extLst>
      <p:ext uri="{BB962C8B-B14F-4D97-AF65-F5344CB8AC3E}">
        <p14:creationId xmlns:p14="http://schemas.microsoft.com/office/powerpoint/2010/main" val="4173156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2F0F71F-CBBD-A139-F0F0-A697EA449DC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2B2E64-1060-B74D-3C92-115259F4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NO" dirty="0"/>
              <a:t>Eksempel digitalt økosystem: E-resep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5E1A1F-065E-775C-F89E-EAB02BFAF05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422390"/>
            <a:ext cx="11471910" cy="4301103"/>
          </a:xfrm>
        </p:spPr>
        <p:txBody>
          <a:bodyPr/>
          <a:lstStyle/>
          <a:p>
            <a:pPr marL="0" indent="0">
              <a:buNone/>
            </a:pP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igital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økosyste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ka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etaorganisasjo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med 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g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ormå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I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enn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rganisasjon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arbeid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ntal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ktø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rivilli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efiner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,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arig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roller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digital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truktu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kap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erd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m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</a:t>
            </a:r>
            <a:endParaRPr lang="en-NO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E8DF21-D912-FA72-5A42-AB84F43ED5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0290" y="2737319"/>
            <a:ext cx="7278642" cy="337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409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2F0F71F-CBBD-A139-F0F0-A697EA449DC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2B2E64-1060-B74D-3C92-115259F419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NO" dirty="0"/>
              <a:t>Eksempel digitalt økosystem: E-resep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95E1A1F-065E-775C-F89E-EAB02BFAF05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422390"/>
            <a:ext cx="11471910" cy="4301103"/>
          </a:xfrm>
        </p:spPr>
        <p:txBody>
          <a:bodyPr/>
          <a:lstStyle/>
          <a:p>
            <a:pPr marL="0" indent="0">
              <a:buNone/>
            </a:pP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igital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økosyste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ka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etaorganisasjo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med 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g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ormå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I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enn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rganisasjon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arbeid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ntal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ktø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rivilli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efiner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,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arig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roller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digital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truktu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kap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erd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m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</a:t>
            </a:r>
            <a:endParaRPr lang="en-NO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E8DF21-D912-FA72-5A42-AB84F43ED5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090" y="3050546"/>
            <a:ext cx="6246174" cy="28941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10D0AC-66AE-F2E7-3E4D-8FD2C0150F37}"/>
              </a:ext>
            </a:extLst>
          </p:cNvPr>
          <p:cNvSpPr txBox="1"/>
          <p:nvPr/>
        </p:nvSpPr>
        <p:spPr>
          <a:xfrm>
            <a:off x="7524026" y="3165122"/>
            <a:ext cx="41711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2000" b="1" dirty="0"/>
              <a:t>Styrken ved økosystemer:</a:t>
            </a:r>
          </a:p>
          <a:p>
            <a:pPr marL="457200" indent="-457200">
              <a:buFont typeface="+mj-lt"/>
              <a:buAutoNum type="arabicPeriod"/>
            </a:pPr>
            <a:r>
              <a:rPr lang="en-NO" sz="2000" dirty="0"/>
              <a:t>Tverrsektorielt. Styres gjennom roller </a:t>
            </a:r>
            <a:r>
              <a:rPr lang="en-GB" sz="2000" dirty="0"/>
              <a:t>i</a:t>
            </a:r>
            <a:r>
              <a:rPr lang="en-NO" sz="2000" dirty="0"/>
              <a:t> den digitale strukturen</a:t>
            </a:r>
          </a:p>
          <a:p>
            <a:pPr marL="457200" indent="-457200">
              <a:buFont typeface="+mj-lt"/>
              <a:buAutoNum type="arabicPeriod"/>
            </a:pPr>
            <a:r>
              <a:rPr lang="en-NO" sz="2000" dirty="0"/>
              <a:t>Muliggjør innovasjon </a:t>
            </a:r>
            <a:r>
              <a:rPr lang="en-GB" sz="2000" dirty="0"/>
              <a:t>I</a:t>
            </a:r>
            <a:r>
              <a:rPr lang="en-NO" sz="2000" dirty="0"/>
              <a:t> to hastigheter; langsom </a:t>
            </a:r>
            <a:r>
              <a:rPr lang="en-GB" sz="2000" dirty="0"/>
              <a:t>I</a:t>
            </a:r>
            <a:r>
              <a:rPr lang="en-NO" sz="2000" dirty="0"/>
              <a:t> kjernen. </a:t>
            </a:r>
            <a:r>
              <a:rPr lang="en-GB" sz="2000" dirty="0"/>
              <a:t>r</a:t>
            </a:r>
            <a:r>
              <a:rPr lang="en-NO" sz="2000" dirty="0"/>
              <a:t>ask i tjenestene</a:t>
            </a:r>
          </a:p>
        </p:txBody>
      </p:sp>
    </p:spTree>
    <p:extLst>
      <p:ext uri="{BB962C8B-B14F-4D97-AF65-F5344CB8AC3E}">
        <p14:creationId xmlns:p14="http://schemas.microsoft.com/office/powerpoint/2010/main" val="200076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DE25B1F-CA87-703B-5274-A99FA58FF7B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9B7A86-0B5D-E82F-ED36-BD5D34130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NO" dirty="0"/>
              <a:t>Sektorstyring vs. økosyste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3DC6E4-CDED-89B0-A4D0-A7CFC7DEE2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323" y="1531620"/>
            <a:ext cx="11222599" cy="443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3274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D61FEB-BFD6-0BCB-CCA4-98D8DF566B2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7BD196-1D25-D7F3-4DF7-8008F5582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i="0" dirty="0" err="1">
                <a:solidFill>
                  <a:srgbClr val="000000"/>
                </a:solidFill>
                <a:effectLst/>
                <a:latin typeface="RecifeTextWeb"/>
              </a:rPr>
              <a:t>Hvordan</a:t>
            </a:r>
            <a:r>
              <a:rPr lang="en-GB" i="0" dirty="0">
                <a:solidFill>
                  <a:srgbClr val="000000"/>
                </a:solidFill>
                <a:effectLst/>
                <a:latin typeface="RecifeTextWeb"/>
              </a:rPr>
              <a:t> </a:t>
            </a:r>
            <a:r>
              <a:rPr lang="en-GB" i="0" dirty="0" err="1">
                <a:solidFill>
                  <a:srgbClr val="000000"/>
                </a:solidFill>
                <a:effectLst/>
                <a:latin typeface="RecifeTextWeb"/>
              </a:rPr>
              <a:t>utfordrer</a:t>
            </a:r>
            <a:r>
              <a:rPr lang="en-GB" i="0" dirty="0">
                <a:solidFill>
                  <a:srgbClr val="000000"/>
                </a:solidFill>
                <a:effectLst/>
                <a:latin typeface="RecifeTextWeb"/>
              </a:rPr>
              <a:t> </a:t>
            </a:r>
            <a:r>
              <a:rPr lang="en-GB" i="0" dirty="0" err="1">
                <a:solidFill>
                  <a:srgbClr val="000000"/>
                </a:solidFill>
                <a:effectLst/>
                <a:latin typeface="RecifeTextWeb"/>
              </a:rPr>
              <a:t>økosystemene</a:t>
            </a:r>
            <a:r>
              <a:rPr lang="en-GB" i="0" dirty="0">
                <a:solidFill>
                  <a:srgbClr val="000000"/>
                </a:solidFill>
                <a:effectLst/>
                <a:latin typeface="RecifeTextWeb"/>
              </a:rPr>
              <a:t>?</a:t>
            </a:r>
            <a:br>
              <a:rPr lang="en-GB" i="0" dirty="0">
                <a:solidFill>
                  <a:srgbClr val="000000"/>
                </a:solidFill>
                <a:effectLst/>
                <a:latin typeface="RecifeTextWeb"/>
              </a:rPr>
            </a:br>
            <a:endParaRPr lang="en-N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6D1AF71-9CB1-6528-B012-C5EFA6AAECC0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Økosystemene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kan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ikke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tyres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lik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ektorene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tyres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– de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bø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i="1" dirty="0" err="1">
                <a:solidFill>
                  <a:srgbClr val="333333"/>
                </a:solidFill>
                <a:latin typeface="RecifeTextWeb"/>
              </a:rPr>
              <a:t>orkestrer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gjenn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konsensuspreged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mensat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prosess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</a:t>
            </a:r>
          </a:p>
          <a:p>
            <a:r>
              <a:rPr lang="en-GB" b="1" dirty="0">
                <a:solidFill>
                  <a:srgbClr val="333333"/>
                </a:solidFill>
                <a:latin typeface="RecifeTextWeb"/>
              </a:rPr>
              <a:t>I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økosystemene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kommer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finansiering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og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ressurser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fra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 mange </a:t>
            </a:r>
            <a:r>
              <a:rPr lang="en-GB" b="1" dirty="0" err="1">
                <a:solidFill>
                  <a:srgbClr val="333333"/>
                </a:solidFill>
                <a:latin typeface="RecifeTextWeb"/>
              </a:rPr>
              <a:t>kilder</a:t>
            </a:r>
            <a:r>
              <a:rPr lang="en-GB" b="1" dirty="0">
                <a:solidFill>
                  <a:srgbClr val="333333"/>
                </a:solidFill>
                <a:latin typeface="RecifeTextWeb"/>
              </a:rPr>
              <a:t>.  </a:t>
            </a:r>
            <a:r>
              <a:rPr lang="nb-NO" dirty="0">
                <a:solidFill>
                  <a:srgbClr val="333333"/>
                </a:solidFill>
                <a:latin typeface="RecifeTextWeb"/>
              </a:rPr>
              <a:t>Nye roller og ansvarslinjer må etableres</a:t>
            </a:r>
            <a:endParaRPr lang="en-NO" dirty="0"/>
          </a:p>
          <a:p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Det er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uløst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hvordan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ituasjoner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der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sektorstyring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orkestrering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kommer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1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1" i="0" dirty="0" err="1">
                <a:solidFill>
                  <a:srgbClr val="333333"/>
                </a:solidFill>
                <a:effectLst/>
                <a:latin typeface="RecifeTextWeb"/>
              </a:rPr>
              <a:t>konflik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,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ka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håndter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A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beslutning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prioritering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om bruk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v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ressurs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oreta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nn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økosystem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heller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gjenn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irek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dialog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ell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irksomh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verordn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yndigh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linj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,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d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aktforholden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259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B1C4D94-CCB6-117D-8630-C7642D1CE0E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Bygstad 2023</a:t>
            </a: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DAB32F-43B2-41D8-759E-DDF2E592A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>
                <a:solidFill>
                  <a:srgbClr val="000000"/>
                </a:solidFill>
                <a:latin typeface="RecifeTextWeb"/>
              </a:rPr>
              <a:t>Ny agenda for </a:t>
            </a:r>
            <a:r>
              <a:rPr lang="en-GB" dirty="0" err="1">
                <a:solidFill>
                  <a:srgbClr val="000000"/>
                </a:solidFill>
                <a:latin typeface="RecifeTextWeb"/>
              </a:rPr>
              <a:t>offentlig</a:t>
            </a:r>
            <a:r>
              <a:rPr lang="en-GB" dirty="0">
                <a:solidFill>
                  <a:srgbClr val="000000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RecifeTextWeb"/>
              </a:rPr>
              <a:t>styring</a:t>
            </a:r>
            <a:r>
              <a:rPr lang="en-GB" dirty="0">
                <a:solidFill>
                  <a:srgbClr val="000000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RecifeTextWeb"/>
              </a:rPr>
              <a:t>og</a:t>
            </a:r>
            <a:r>
              <a:rPr lang="en-GB" dirty="0">
                <a:solidFill>
                  <a:srgbClr val="000000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RecifeTextWeb"/>
              </a:rPr>
              <a:t>ledelse</a:t>
            </a:r>
            <a:br>
              <a:rPr lang="en-GB" dirty="0">
                <a:solidFill>
                  <a:srgbClr val="000000"/>
                </a:solidFill>
                <a:latin typeface="RecifeTextWeb"/>
              </a:rPr>
            </a:br>
            <a:endParaRPr lang="en-N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D82ED7C-C9DA-F4FD-96C2-636A0118B004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algn="l"/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Et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voksend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ntal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ffentlig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ppgav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ka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kk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leng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håndter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bare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enkel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tyringslinj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, men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å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løs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spill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mellom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ktø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–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of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på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tver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av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ekto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igitaliseringsstrategien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foku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på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sammenhengend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tjenest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llustrere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dette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med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tydelighet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 I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tillegg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bør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innovasjonshastigheten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 </a:t>
            </a:r>
            <a:r>
              <a:rPr lang="en-GB" b="0" i="0" dirty="0" err="1">
                <a:solidFill>
                  <a:srgbClr val="333333"/>
                </a:solidFill>
                <a:effectLst/>
                <a:latin typeface="RecifeTextWeb"/>
              </a:rPr>
              <a:t>økes</a:t>
            </a:r>
            <a:r>
              <a:rPr lang="en-GB" b="0" i="0" dirty="0">
                <a:solidFill>
                  <a:srgbClr val="333333"/>
                </a:solidFill>
                <a:effectLst/>
                <a:latin typeface="RecifeTextWeb"/>
              </a:rPr>
              <a:t>.</a:t>
            </a:r>
          </a:p>
          <a:p>
            <a:pPr algn="l"/>
            <a:r>
              <a:rPr lang="en-GB" dirty="0" err="1">
                <a:solidFill>
                  <a:srgbClr val="333333"/>
                </a:solidFill>
                <a:latin typeface="RecifeTextWeb"/>
              </a:rPr>
              <a:t>Digitale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økosysemer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 er et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svar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på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begge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 </a:t>
            </a:r>
            <a:r>
              <a:rPr lang="en-GB" dirty="0" err="1">
                <a:solidFill>
                  <a:srgbClr val="333333"/>
                </a:solidFill>
                <a:latin typeface="RecifeTextWeb"/>
              </a:rPr>
              <a:t>utfordringene</a:t>
            </a:r>
            <a:r>
              <a:rPr lang="en-GB" dirty="0">
                <a:solidFill>
                  <a:srgbClr val="333333"/>
                </a:solidFill>
                <a:latin typeface="RecifeTextWeb"/>
              </a:rPr>
              <a:t>:</a:t>
            </a:r>
            <a:endParaRPr lang="en-GB" b="0" i="0" dirty="0">
              <a:solidFill>
                <a:srgbClr val="333333"/>
              </a:solidFill>
              <a:effectLst/>
              <a:latin typeface="RecifeTextWeb"/>
            </a:endParaRPr>
          </a:p>
          <a:p>
            <a:pPr marL="457200" indent="-457200">
              <a:buFont typeface="+mj-lt"/>
              <a:buAutoNum type="arabicPeriod"/>
            </a:pPr>
            <a:r>
              <a:rPr lang="en-NO" sz="2000" b="1" dirty="0"/>
              <a:t>Tverrsektorielt. </a:t>
            </a:r>
            <a:r>
              <a:rPr lang="en-NO" sz="2000" dirty="0"/>
              <a:t>Styres gjennom roller </a:t>
            </a:r>
            <a:r>
              <a:rPr lang="en-GB" sz="2000" dirty="0" err="1"/>
              <a:t>i</a:t>
            </a:r>
            <a:r>
              <a:rPr lang="en-NO" sz="2000" dirty="0"/>
              <a:t> den digitale strukturen, ikke linjen</a:t>
            </a:r>
          </a:p>
          <a:p>
            <a:pPr marL="457200" indent="-457200">
              <a:buFont typeface="+mj-lt"/>
              <a:buAutoNum type="arabicPeriod"/>
            </a:pPr>
            <a:r>
              <a:rPr lang="en-NO" sz="2000" b="1" dirty="0"/>
              <a:t>Muliggjør innovasjon </a:t>
            </a:r>
            <a:r>
              <a:rPr lang="en-GB" sz="2000" dirty="0"/>
              <a:t>i</a:t>
            </a:r>
            <a:r>
              <a:rPr lang="en-NO" sz="2000" dirty="0"/>
              <a:t> to hastigheter; langsom </a:t>
            </a:r>
            <a:r>
              <a:rPr lang="en-GB" sz="2000" dirty="0"/>
              <a:t>I</a:t>
            </a:r>
            <a:r>
              <a:rPr lang="en-NO" sz="2000" dirty="0"/>
              <a:t> kjernen, </a:t>
            </a:r>
            <a:r>
              <a:rPr lang="en-GB" sz="2000" dirty="0"/>
              <a:t>r</a:t>
            </a:r>
            <a:r>
              <a:rPr lang="en-NO" sz="2000" dirty="0"/>
              <a:t>ask i tjenesteutvikling</a:t>
            </a:r>
          </a:p>
          <a:p>
            <a:pPr lvl="1"/>
            <a:endParaRPr lang="en-NO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F95096-A494-EF35-9922-19687B0BF34A}"/>
              </a:ext>
            </a:extLst>
          </p:cNvPr>
          <p:cNvSpPr txBox="1"/>
          <p:nvPr/>
        </p:nvSpPr>
        <p:spPr>
          <a:xfrm>
            <a:off x="7943850" y="5589270"/>
            <a:ext cx="31902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 dirty="0"/>
              <a:t>Lanestedt og Bygstad, Stat og Styring 2022.</a:t>
            </a:r>
          </a:p>
        </p:txBody>
      </p:sp>
    </p:spTree>
    <p:extLst>
      <p:ext uri="{BB962C8B-B14F-4D97-AF65-F5344CB8AC3E}">
        <p14:creationId xmlns:p14="http://schemas.microsoft.com/office/powerpoint/2010/main" val="581448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e626d8d-df48-4ab1-8c26-5c93572b7cb4">
      <Terms xmlns="http://schemas.microsoft.com/office/infopath/2007/PartnerControls"/>
    </lcf76f155ced4ddcb4097134ff3c332f>
    <TaxCatchAll xmlns="fb69f4e9-50ad-43c7-9586-dfae98348ec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096829DCF8D24097824495BF642874" ma:contentTypeVersion="15" ma:contentTypeDescription="Create a new document." ma:contentTypeScope="" ma:versionID="163653528c2a9d23049f2e52763a6ea7">
  <xsd:schema xmlns:xsd="http://www.w3.org/2001/XMLSchema" xmlns:xs="http://www.w3.org/2001/XMLSchema" xmlns:p="http://schemas.microsoft.com/office/2006/metadata/properties" xmlns:ns2="ee626d8d-df48-4ab1-8c26-5c93572b7cb4" xmlns:ns3="fb69f4e9-50ad-43c7-9586-dfae98348ec5" targetNamespace="http://schemas.microsoft.com/office/2006/metadata/properties" ma:root="true" ma:fieldsID="1613535504de76afe1a7751b3f3b886f" ns2:_="" ns3:_="">
    <xsd:import namespace="ee626d8d-df48-4ab1-8c26-5c93572b7cb4"/>
    <xsd:import namespace="fb69f4e9-50ad-43c7-9586-dfae98348e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626d8d-df48-4ab1-8c26-5c93572b7c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53ac7b7e-8fcb-443e-82a4-9bfbac99ce3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69f4e9-50ad-43c7-9586-dfae98348ec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890ebdcb-dd57-40bf-a9fd-db31b9299e95}" ma:internalName="TaxCatchAll" ma:showField="CatchAllData" ma:web="fb69f4e9-50ad-43c7-9586-dfae98348e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purl.org/dc/elements/1.1/"/>
    <ds:schemaRef ds:uri="http://schemas.microsoft.com/office/2006/metadata/properties"/>
    <ds:schemaRef ds:uri="45a9c032-1c21-4297-bc4a-1b0e359a6c1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D8987B6-52AB-4C69-88D0-C3A568697F7B}"/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1320</TotalTime>
  <Words>367</Words>
  <Application>Microsoft Macintosh PowerPoint</Application>
  <PresentationFormat>Widescreen</PresentationFormat>
  <Paragraphs>3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, sans-serif</vt:lpstr>
      <vt:lpstr>Calibri</vt:lpstr>
      <vt:lpstr>RecifeTextWeb</vt:lpstr>
      <vt:lpstr>Wingdings</vt:lpstr>
      <vt:lpstr>Office Theme</vt:lpstr>
      <vt:lpstr>think-cell Slide</vt:lpstr>
      <vt:lpstr>  Økosystemer utfordrer sektorstyringen   </vt:lpstr>
      <vt:lpstr>To utfordringer for digitalisering av offentlig sektor</vt:lpstr>
      <vt:lpstr>Eksempel digitalt økosystem: E-resept</vt:lpstr>
      <vt:lpstr>Eksempel digitalt økosystem: E-resept</vt:lpstr>
      <vt:lpstr>Sektorstyring vs. økosystem</vt:lpstr>
      <vt:lpstr>Hvordan utfordrer økosystemene? </vt:lpstr>
      <vt:lpstr>Ny agenda for offentlig styring og ledelse 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Mathilde Elisabeth Jarbekk</dc:creator>
  <cp:lastModifiedBy>Bendik Bygstad</cp:lastModifiedBy>
  <cp:revision>65</cp:revision>
  <dcterms:created xsi:type="dcterms:W3CDTF">2023-01-26T14:29:24Z</dcterms:created>
  <dcterms:modified xsi:type="dcterms:W3CDTF">2023-09-12T07:1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096829DCF8D24097824495BF642874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